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4D7D18-C8F5-4F82-8AB9-62C94B216A24}" v="53" dt="2023-03-17T23:14:26.33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2" d="100"/>
          <a:sy n="112" d="100"/>
        </p:scale>
        <p:origin x="138" y="34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914D7D18-C8F5-4F82-8AB9-62C94B216A24}"/>
    <pc:docChg chg="custSel modSld">
      <pc:chgData name="Roberto Gallardo" userId="49a044883f185952" providerId="LiveId" clId="{914D7D18-C8F5-4F82-8AB9-62C94B216A24}" dt="2023-03-17T23:14:18.859" v="199"/>
      <pc:docMkLst>
        <pc:docMk/>
      </pc:docMkLst>
      <pc:sldChg chg="addSp modSp mod">
        <pc:chgData name="Roberto Gallardo" userId="49a044883f185952" providerId="LiveId" clId="{914D7D18-C8F5-4F82-8AB9-62C94B216A24}" dt="2023-03-17T23:04:50.661" v="7" actId="1076"/>
        <pc:sldMkLst>
          <pc:docMk/>
          <pc:sldMk cId="1418533539" sldId="271"/>
        </pc:sldMkLst>
        <pc:picChg chg="add mod">
          <ac:chgData name="Roberto Gallardo" userId="49a044883f185952" providerId="LiveId" clId="{914D7D18-C8F5-4F82-8AB9-62C94B216A24}" dt="2023-03-17T23:04:50.661" v="7" actId="1076"/>
          <ac:picMkLst>
            <pc:docMk/>
            <pc:sldMk cId="1418533539" sldId="271"/>
            <ac:picMk id="6" creationId="{9141D092-7649-0F26-C6A4-7AA5E83FA9DF}"/>
          </ac:picMkLst>
        </pc:picChg>
      </pc:sldChg>
      <pc:sldChg chg="addSp modSp mod">
        <pc:chgData name="Roberto Gallardo" userId="49a044883f185952" providerId="LiveId" clId="{914D7D18-C8F5-4F82-8AB9-62C94B216A24}" dt="2023-03-17T23:06:30.993" v="69" actId="1076"/>
        <pc:sldMkLst>
          <pc:docMk/>
          <pc:sldMk cId="2124848710" sldId="281"/>
        </pc:sldMkLst>
        <pc:picChg chg="add mod">
          <ac:chgData name="Roberto Gallardo" userId="49a044883f185952" providerId="LiveId" clId="{914D7D18-C8F5-4F82-8AB9-62C94B216A24}" dt="2023-03-17T23:06:30.993" v="69" actId="1076"/>
          <ac:picMkLst>
            <pc:docMk/>
            <pc:sldMk cId="2124848710" sldId="281"/>
            <ac:picMk id="6" creationId="{E46EFEF9-7C84-E7DC-4C58-66F1F7307350}"/>
          </ac:picMkLst>
        </pc:picChg>
      </pc:sldChg>
      <pc:sldChg chg="addSp modSp mod">
        <pc:chgData name="Roberto Gallardo" userId="49a044883f185952" providerId="LiveId" clId="{914D7D18-C8F5-4F82-8AB9-62C94B216A24}" dt="2023-03-17T23:06:45.970" v="79" actId="1076"/>
        <pc:sldMkLst>
          <pc:docMk/>
          <pc:sldMk cId="2028175529" sldId="282"/>
        </pc:sldMkLst>
        <pc:picChg chg="add mod">
          <ac:chgData name="Roberto Gallardo" userId="49a044883f185952" providerId="LiveId" clId="{914D7D18-C8F5-4F82-8AB9-62C94B216A24}" dt="2023-03-17T23:06:45.970" v="79" actId="1076"/>
          <ac:picMkLst>
            <pc:docMk/>
            <pc:sldMk cId="2028175529" sldId="282"/>
            <ac:picMk id="7" creationId="{9660D0B0-5BFD-968E-0A36-D31C9EE515CC}"/>
          </ac:picMkLst>
        </pc:picChg>
      </pc:sldChg>
      <pc:sldChg chg="addSp modSp mod">
        <pc:chgData name="Roberto Gallardo" userId="49a044883f185952" providerId="LiveId" clId="{914D7D18-C8F5-4F82-8AB9-62C94B216A24}" dt="2023-03-17T23:07:02.570" v="91" actId="1076"/>
        <pc:sldMkLst>
          <pc:docMk/>
          <pc:sldMk cId="1326517747" sldId="283"/>
        </pc:sldMkLst>
        <pc:picChg chg="add mod">
          <ac:chgData name="Roberto Gallardo" userId="49a044883f185952" providerId="LiveId" clId="{914D7D18-C8F5-4F82-8AB9-62C94B216A24}" dt="2023-03-17T23:07:02.570" v="91" actId="1076"/>
          <ac:picMkLst>
            <pc:docMk/>
            <pc:sldMk cId="1326517747" sldId="283"/>
            <ac:picMk id="7" creationId="{573144D3-D158-0AE8-27D1-C0EBEB835941}"/>
          </ac:picMkLst>
        </pc:picChg>
      </pc:sldChg>
      <pc:sldChg chg="addSp modSp mod">
        <pc:chgData name="Roberto Gallardo" userId="49a044883f185952" providerId="LiveId" clId="{914D7D18-C8F5-4F82-8AB9-62C94B216A24}" dt="2023-03-17T23:07:17.177" v="100" actId="1076"/>
        <pc:sldMkLst>
          <pc:docMk/>
          <pc:sldMk cId="783739251" sldId="284"/>
        </pc:sldMkLst>
        <pc:picChg chg="add mod">
          <ac:chgData name="Roberto Gallardo" userId="49a044883f185952" providerId="LiveId" clId="{914D7D18-C8F5-4F82-8AB9-62C94B216A24}" dt="2023-03-17T23:07:17.177" v="100" actId="1076"/>
          <ac:picMkLst>
            <pc:docMk/>
            <pc:sldMk cId="783739251" sldId="284"/>
            <ac:picMk id="7" creationId="{28C663B4-A193-EE4B-E5E0-2F9749756FDF}"/>
          </ac:picMkLst>
        </pc:picChg>
      </pc:sldChg>
      <pc:sldChg chg="addSp modSp mod">
        <pc:chgData name="Roberto Gallardo" userId="49a044883f185952" providerId="LiveId" clId="{914D7D18-C8F5-4F82-8AB9-62C94B216A24}" dt="2023-03-17T23:07:32.217" v="107" actId="14100"/>
        <pc:sldMkLst>
          <pc:docMk/>
          <pc:sldMk cId="1676122233" sldId="285"/>
        </pc:sldMkLst>
        <pc:picChg chg="add mod">
          <ac:chgData name="Roberto Gallardo" userId="49a044883f185952" providerId="LiveId" clId="{914D7D18-C8F5-4F82-8AB9-62C94B216A24}" dt="2023-03-17T23:07:32.217" v="107" actId="14100"/>
          <ac:picMkLst>
            <pc:docMk/>
            <pc:sldMk cId="1676122233" sldId="285"/>
            <ac:picMk id="7" creationId="{0A60B8DB-BC03-3217-AD9B-52808B550B35}"/>
          </ac:picMkLst>
        </pc:picChg>
      </pc:sldChg>
      <pc:sldChg chg="addSp modSp mod">
        <pc:chgData name="Roberto Gallardo" userId="49a044883f185952" providerId="LiveId" clId="{914D7D18-C8F5-4F82-8AB9-62C94B216A24}" dt="2023-03-17T23:07:55.317" v="120" actId="1076"/>
        <pc:sldMkLst>
          <pc:docMk/>
          <pc:sldMk cId="3100398757" sldId="286"/>
        </pc:sldMkLst>
        <pc:picChg chg="add mod">
          <ac:chgData name="Roberto Gallardo" userId="49a044883f185952" providerId="LiveId" clId="{914D7D18-C8F5-4F82-8AB9-62C94B216A24}" dt="2023-03-17T23:07:55.317" v="120" actId="1076"/>
          <ac:picMkLst>
            <pc:docMk/>
            <pc:sldMk cId="3100398757" sldId="286"/>
            <ac:picMk id="7" creationId="{CC778EC0-D8E0-8BFD-16E0-DF4F8E5B0B54}"/>
          </ac:picMkLst>
        </pc:picChg>
      </pc:sldChg>
      <pc:sldChg chg="addSp modSp mod">
        <pc:chgData name="Roberto Gallardo" userId="49a044883f185952" providerId="LiveId" clId="{914D7D18-C8F5-4F82-8AB9-62C94B216A24}" dt="2023-03-17T23:08:11.534" v="130" actId="1076"/>
        <pc:sldMkLst>
          <pc:docMk/>
          <pc:sldMk cId="1546475425" sldId="287"/>
        </pc:sldMkLst>
        <pc:picChg chg="add mod">
          <ac:chgData name="Roberto Gallardo" userId="49a044883f185952" providerId="LiveId" clId="{914D7D18-C8F5-4F82-8AB9-62C94B216A24}" dt="2023-03-17T23:08:11.534" v="130" actId="1076"/>
          <ac:picMkLst>
            <pc:docMk/>
            <pc:sldMk cId="1546475425" sldId="287"/>
            <ac:picMk id="7" creationId="{D01C488B-9A7D-218B-171B-0FFB40ED9027}"/>
          </ac:picMkLst>
        </pc:picChg>
      </pc:sldChg>
      <pc:sldChg chg="addSp delSp modSp mod">
        <pc:chgData name="Roberto Gallardo" userId="49a044883f185952" providerId="LiveId" clId="{914D7D18-C8F5-4F82-8AB9-62C94B216A24}" dt="2023-03-17T23:14:05.677" v="197"/>
        <pc:sldMkLst>
          <pc:docMk/>
          <pc:sldMk cId="1380517306" sldId="288"/>
        </pc:sldMkLst>
        <pc:graphicFrameChg chg="add mod">
          <ac:chgData name="Roberto Gallardo" userId="49a044883f185952" providerId="LiveId" clId="{914D7D18-C8F5-4F82-8AB9-62C94B216A24}" dt="2023-03-17T23:14:05.677" v="197"/>
          <ac:graphicFrameMkLst>
            <pc:docMk/>
            <pc:sldMk cId="1380517306" sldId="288"/>
            <ac:graphicFrameMk id="8" creationId="{4A2A4183-EF78-FF12-86AB-176BDC88A5C5}"/>
          </ac:graphicFrameMkLst>
        </pc:graphicFrameChg>
        <pc:picChg chg="del">
          <ac:chgData name="Roberto Gallardo" userId="49a044883f185952" providerId="LiveId" clId="{914D7D18-C8F5-4F82-8AB9-62C94B216A24}" dt="2023-03-17T23:14:05.227" v="196" actId="478"/>
          <ac:picMkLst>
            <pc:docMk/>
            <pc:sldMk cId="1380517306" sldId="288"/>
            <ac:picMk id="6" creationId="{5B899523-D7D2-43A9-7671-86BCE0C9DFA8}"/>
          </ac:picMkLst>
        </pc:picChg>
        <pc:picChg chg="add mod">
          <ac:chgData name="Roberto Gallardo" userId="49a044883f185952" providerId="LiveId" clId="{914D7D18-C8F5-4F82-8AB9-62C94B216A24}" dt="2023-03-17T23:08:44.469" v="151" actId="1076"/>
          <ac:picMkLst>
            <pc:docMk/>
            <pc:sldMk cId="1380517306" sldId="288"/>
            <ac:picMk id="7" creationId="{4EC86DA5-5BE8-1157-57AB-0F4F4C6F1363}"/>
          </ac:picMkLst>
        </pc:picChg>
      </pc:sldChg>
      <pc:sldChg chg="addSp delSp modSp mod">
        <pc:chgData name="Roberto Gallardo" userId="49a044883f185952" providerId="LiveId" clId="{914D7D18-C8F5-4F82-8AB9-62C94B216A24}" dt="2023-03-17T23:14:18.859" v="199"/>
        <pc:sldMkLst>
          <pc:docMk/>
          <pc:sldMk cId="1388671151" sldId="289"/>
        </pc:sldMkLst>
        <pc:graphicFrameChg chg="add mod">
          <ac:chgData name="Roberto Gallardo" userId="49a044883f185952" providerId="LiveId" clId="{914D7D18-C8F5-4F82-8AB9-62C94B216A24}" dt="2023-03-17T23:14:18.859" v="199"/>
          <ac:graphicFrameMkLst>
            <pc:docMk/>
            <pc:sldMk cId="1388671151" sldId="289"/>
            <ac:graphicFrameMk id="8" creationId="{E466D8CA-6264-A817-28FE-42C894B4230A}"/>
          </ac:graphicFrameMkLst>
        </pc:graphicFrameChg>
        <pc:picChg chg="del">
          <ac:chgData name="Roberto Gallardo" userId="49a044883f185952" providerId="LiveId" clId="{914D7D18-C8F5-4F82-8AB9-62C94B216A24}" dt="2023-03-17T23:14:18.579" v="198" actId="478"/>
          <ac:picMkLst>
            <pc:docMk/>
            <pc:sldMk cId="1388671151" sldId="289"/>
            <ac:picMk id="6" creationId="{D5564516-FC13-BC7A-529C-903882300713}"/>
          </ac:picMkLst>
        </pc:picChg>
        <pc:picChg chg="add mod">
          <ac:chgData name="Roberto Gallardo" userId="49a044883f185952" providerId="LiveId" clId="{914D7D18-C8F5-4F82-8AB9-62C94B216A24}" dt="2023-03-17T23:09:01.134" v="162" actId="1076"/>
          <ac:picMkLst>
            <pc:docMk/>
            <pc:sldMk cId="1388671151" sldId="289"/>
            <ac:picMk id="7" creationId="{DF7EB1C0-4698-141C-C8DF-3BC3758DFED7}"/>
          </ac:picMkLst>
        </pc:picChg>
      </pc:sldChg>
      <pc:sldChg chg="addSp modSp mod">
        <pc:chgData name="Roberto Gallardo" userId="49a044883f185952" providerId="LiveId" clId="{914D7D18-C8F5-4F82-8AB9-62C94B216A24}" dt="2023-03-17T23:09:44.010" v="184" actId="1076"/>
        <pc:sldMkLst>
          <pc:docMk/>
          <pc:sldMk cId="2355376039" sldId="290"/>
        </pc:sldMkLst>
        <pc:picChg chg="add mod">
          <ac:chgData name="Roberto Gallardo" userId="49a044883f185952" providerId="LiveId" clId="{914D7D18-C8F5-4F82-8AB9-62C94B216A24}" dt="2023-03-17T23:09:44.010" v="184" actId="1076"/>
          <ac:picMkLst>
            <pc:docMk/>
            <pc:sldMk cId="2355376039" sldId="290"/>
            <ac:picMk id="8" creationId="{B893B7CC-59D9-B3DA-9AE1-BEE0532826B8}"/>
          </ac:picMkLst>
        </pc:picChg>
      </pc:sldChg>
      <pc:sldChg chg="addSp modSp mod">
        <pc:chgData name="Roberto Gallardo" userId="49a044883f185952" providerId="LiveId" clId="{914D7D18-C8F5-4F82-8AB9-62C94B216A24}" dt="2023-03-17T23:10:04.681" v="195" actId="1076"/>
        <pc:sldMkLst>
          <pc:docMk/>
          <pc:sldMk cId="3757257295" sldId="291"/>
        </pc:sldMkLst>
        <pc:picChg chg="add mod">
          <ac:chgData name="Roberto Gallardo" userId="49a044883f185952" providerId="LiveId" clId="{914D7D18-C8F5-4F82-8AB9-62C94B216A24}" dt="2023-03-17T23:10:04.681" v="195" actId="1076"/>
          <ac:picMkLst>
            <pc:docMk/>
            <pc:sldMk cId="3757257295" sldId="291"/>
            <ac:picMk id="8" creationId="{C02933C8-CEB5-FA59-2F6C-97CA03098913}"/>
          </ac:picMkLst>
        </pc:picChg>
      </pc:sldChg>
      <pc:sldChg chg="addSp modSp mod">
        <pc:chgData name="Roberto Gallardo" userId="49a044883f185952" providerId="LiveId" clId="{914D7D18-C8F5-4F82-8AB9-62C94B216A24}" dt="2023-03-17T23:08:28.614" v="139" actId="1076"/>
        <pc:sldMkLst>
          <pc:docMk/>
          <pc:sldMk cId="1259856727" sldId="292"/>
        </pc:sldMkLst>
        <pc:picChg chg="add mod">
          <ac:chgData name="Roberto Gallardo" userId="49a044883f185952" providerId="LiveId" clId="{914D7D18-C8F5-4F82-8AB9-62C94B216A24}" dt="2023-03-17T23:08:28.614" v="139" actId="1076"/>
          <ac:picMkLst>
            <pc:docMk/>
            <pc:sldMk cId="1259856727" sldId="292"/>
            <ac:picMk id="7" creationId="{33542AA1-E214-940A-DCB2-F1A236962FB6}"/>
          </ac:picMkLst>
        </pc:picChg>
      </pc:sldChg>
      <pc:sldChg chg="addSp modSp mod">
        <pc:chgData name="Roberto Gallardo" userId="49a044883f185952" providerId="LiveId" clId="{914D7D18-C8F5-4F82-8AB9-62C94B216A24}" dt="2023-03-17T23:06:14.217" v="57" actId="1076"/>
        <pc:sldMkLst>
          <pc:docMk/>
          <pc:sldMk cId="3324519687" sldId="293"/>
        </pc:sldMkLst>
        <pc:picChg chg="add mod">
          <ac:chgData name="Roberto Gallardo" userId="49a044883f185952" providerId="LiveId" clId="{914D7D18-C8F5-4F82-8AB9-62C94B216A24}" dt="2023-03-17T23:06:14.217" v="57" actId="1076"/>
          <ac:picMkLst>
            <pc:docMk/>
            <pc:sldMk cId="3324519687" sldId="293"/>
            <ac:picMk id="7" creationId="{A194DDA7-7528-D42C-9520-BCF63C018A3E}"/>
          </ac:picMkLst>
        </pc:picChg>
      </pc:sldChg>
      <pc:sldChg chg="addSp modSp mod">
        <pc:chgData name="Roberto Gallardo" userId="49a044883f185952" providerId="LiveId" clId="{914D7D18-C8F5-4F82-8AB9-62C94B216A24}" dt="2023-03-17T23:05:42.358" v="36" actId="1076"/>
        <pc:sldMkLst>
          <pc:docMk/>
          <pc:sldMk cId="3256182630" sldId="295"/>
        </pc:sldMkLst>
        <pc:picChg chg="add mod">
          <ac:chgData name="Roberto Gallardo" userId="49a044883f185952" providerId="LiveId" clId="{914D7D18-C8F5-4F82-8AB9-62C94B216A24}" dt="2023-03-17T23:05:42.358" v="36" actId="1076"/>
          <ac:picMkLst>
            <pc:docMk/>
            <pc:sldMk cId="3256182630" sldId="295"/>
            <ac:picMk id="7" creationId="{0ED04BD2-78F0-C47A-5D6B-25C4BE99F2C0}"/>
          </ac:picMkLst>
        </pc:picChg>
      </pc:sldChg>
      <pc:sldChg chg="addSp modSp mod">
        <pc:chgData name="Roberto Gallardo" userId="49a044883f185952" providerId="LiveId" clId="{914D7D18-C8F5-4F82-8AB9-62C94B216A24}" dt="2023-03-17T23:05:58.135" v="46" actId="1076"/>
        <pc:sldMkLst>
          <pc:docMk/>
          <pc:sldMk cId="4057156843" sldId="296"/>
        </pc:sldMkLst>
        <pc:picChg chg="add mod">
          <ac:chgData name="Roberto Gallardo" userId="49a044883f185952" providerId="LiveId" clId="{914D7D18-C8F5-4F82-8AB9-62C94B216A24}" dt="2023-03-17T23:05:58.135" v="46" actId="1076"/>
          <ac:picMkLst>
            <pc:docMk/>
            <pc:sldMk cId="4057156843" sldId="296"/>
            <ac:picMk id="7" creationId="{BDA16832-461A-5F85-7D68-476EDDF460A9}"/>
          </ac:picMkLst>
        </pc:picChg>
      </pc:sldChg>
      <pc:sldChg chg="addSp modSp mod">
        <pc:chgData name="Roberto Gallardo" userId="49a044883f185952" providerId="LiveId" clId="{914D7D18-C8F5-4F82-8AB9-62C94B216A24}" dt="2023-03-17T23:05:27.805" v="28" actId="1076"/>
        <pc:sldMkLst>
          <pc:docMk/>
          <pc:sldMk cId="2080110827" sldId="297"/>
        </pc:sldMkLst>
        <pc:picChg chg="add mod">
          <ac:chgData name="Roberto Gallardo" userId="49a044883f185952" providerId="LiveId" clId="{914D7D18-C8F5-4F82-8AB9-62C94B216A24}" dt="2023-03-17T23:05:27.805" v="28" actId="1076"/>
          <ac:picMkLst>
            <pc:docMk/>
            <pc:sldMk cId="2080110827" sldId="297"/>
            <ac:picMk id="6" creationId="{C7EE99E2-8390-CDF9-6ADE-03E975177FD3}"/>
          </ac:picMkLst>
        </pc:picChg>
      </pc:sldChg>
      <pc:sldChg chg="addSp modSp mod">
        <pc:chgData name="Roberto Gallardo" userId="49a044883f185952" providerId="LiveId" clId="{914D7D18-C8F5-4F82-8AB9-62C94B216A24}" dt="2023-03-17T23:05:12.021" v="20" actId="1076"/>
        <pc:sldMkLst>
          <pc:docMk/>
          <pc:sldMk cId="1532666867" sldId="298"/>
        </pc:sldMkLst>
        <pc:picChg chg="add mod">
          <ac:chgData name="Roberto Gallardo" userId="49a044883f185952" providerId="LiveId" clId="{914D7D18-C8F5-4F82-8AB9-62C94B216A24}" dt="2023-03-17T23:05:12.021" v="20" actId="1076"/>
          <ac:picMkLst>
            <pc:docMk/>
            <pc:sldMk cId="1532666867" sldId="298"/>
            <ac:picMk id="6" creationId="{90E37D2C-B94A-A259-8D17-169CA3BA8E5A}"/>
          </ac:picMkLst>
        </pc:picChg>
      </pc:sldChg>
      <pc:sldChg chg="addSp modSp mod">
        <pc:chgData name="Roberto Gallardo" userId="49a044883f185952" providerId="LiveId" clId="{914D7D18-C8F5-4F82-8AB9-62C94B216A24}" dt="2023-03-17T23:09:26.970" v="171" actId="1076"/>
        <pc:sldMkLst>
          <pc:docMk/>
          <pc:sldMk cId="1951376777" sldId="299"/>
        </pc:sldMkLst>
        <pc:picChg chg="add mod">
          <ac:chgData name="Roberto Gallardo" userId="49a044883f185952" providerId="LiveId" clId="{914D7D18-C8F5-4F82-8AB9-62C94B216A24}" dt="2023-03-17T23:09:26.970" v="171" actId="1076"/>
          <ac:picMkLst>
            <pc:docMk/>
            <pc:sldMk cId="1951376777" sldId="299"/>
            <ac:picMk id="7" creationId="{0C2C6F5B-DD00-428A-AB42-ED79E2E2F73A}"/>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85652"/>
          </a:xfrm>
          <a:prstGeom prst="rect">
            <a:avLst/>
          </a:prstGeom>
          <a:noFill/>
        </p:spPr>
        <p:txBody>
          <a:bodyPr wrap="square" rtlCol="0">
            <a:spAutoFit/>
          </a:bodyPr>
          <a:lstStyle/>
          <a:p>
            <a:r>
              <a:rPr lang="en-US" sz="4000" dirty="0">
                <a:solidFill>
                  <a:schemeClr val="bg1"/>
                </a:solidFill>
              </a:rPr>
              <a:t>Northampton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a:solidFill>
                  <a:schemeClr val="bg1"/>
                </a:solidFill>
              </a:rPr>
              <a:t>Prepared </a:t>
            </a:r>
            <a:r>
              <a:rPr lang="en-US" sz="1600" dirty="0">
                <a:solidFill>
                  <a:schemeClr val="bg1"/>
                </a:solidFill>
              </a:rPr>
              <a:t>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E0E4B49-EFEF-F3FB-EC17-BB581967F88F}"/>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FE89AB87-2DEC-940E-9572-6B57AA994D4F}"/>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9141D092-7649-0F26-C6A4-7AA5E83FA9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0E37D2C-B94A-A259-8D17-169CA3BA8E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1" y="1024554"/>
            <a:ext cx="7602618"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C7EE99E2-8390-CDF9-6ADE-03E975177F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BADA2413-F2C5-B4B2-B4CD-FA8F776F5B52}"/>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0ED04BD2-78F0-C47A-5D6B-25C4BE99F2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824833FD-CCE9-C7FA-807A-BDC00AFB33C5}"/>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BDA16832-461A-5F85-7D68-476EDDF460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6097"/>
            <a:ext cx="6400801"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742E1536-ADFF-9314-624E-0F8ADA24CFF8}"/>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A194DDA7-7528-D42C-9520-BCF63C018A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39069B8-EE58-C062-A9B7-A3777BE14958}"/>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E46EFEF9-7C84-E7DC-4C58-66F1F73073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2"/>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2B4AA24-6A4A-7440-9BC9-98F2978F2D78}"/>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9660D0B0-5BFD-968E-0A36-D31C9EE515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BBFB987-99BD-8D5B-ED8A-A7F937ABF6E3}"/>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573144D3-D158-0AE8-27D1-C0EBEB8359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97087D0-C629-31BC-D914-A203D95BD6A8}"/>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28C663B4-A193-EE4B-E5E0-2F9749756F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9632" y="1417773"/>
            <a:ext cx="6399968" cy="4525783"/>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DFB7F4F-1A19-1E9E-3A3B-E8407ABE4E0C}"/>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0A60B8DB-BC03-3217-AD9B-52808B550B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538"/>
            <a:ext cx="6394147" cy="4521666"/>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475E51F-0B8C-9E74-E1D0-6AA94E30221A}"/>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CC778EC0-D8E0-8BFD-16E0-DF4F8E5B0B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0" cy="452637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4722E7A-03A5-DD75-CEF0-E4F1A900E1D5}"/>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D01C488B-9A7D-218B-171B-0FFB40ED90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3FD0818-FFC6-FCE9-E7D5-C184ACA72408}"/>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33542AA1-E214-940A-DCB2-F1A236962F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6945" y="1419454"/>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EC86DA5-5BE8-1157-57AB-0F4F4C6F13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pic>
        <p:nvPicPr>
          <p:cNvPr id="9" name="Picture 8">
            <a:extLst>
              <a:ext uri="{FF2B5EF4-FFF2-40B4-BE49-F238E27FC236}">
                <a16:creationId xmlns:a16="http://schemas.microsoft.com/office/drawing/2014/main" id="{1444BCA9-6489-29D1-2311-F53F1EE98DC6}"/>
              </a:ext>
            </a:extLst>
          </p:cNvPr>
          <p:cNvPicPr/>
          <p:nvPr/>
        </p:nvPicPr>
        <p:blipFill>
          <a:blip r:embed="rId3"/>
          <a:stretch>
            <a:fillRect/>
          </a:stretch>
        </p:blipFill>
        <p:spPr>
          <a:xfrm>
            <a:off x="152400" y="1783082"/>
            <a:ext cx="5295901" cy="3798070"/>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F7EB1C0-4698-141C-C8DF-3BC3758DFE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pic>
        <p:nvPicPr>
          <p:cNvPr id="9" name="Picture 8">
            <a:extLst>
              <a:ext uri="{FF2B5EF4-FFF2-40B4-BE49-F238E27FC236}">
                <a16:creationId xmlns:a16="http://schemas.microsoft.com/office/drawing/2014/main" id="{AAB107C1-8DCB-8A2A-2A36-21CDF7414962}"/>
              </a:ext>
            </a:extLst>
          </p:cNvPr>
          <p:cNvPicPr/>
          <p:nvPr/>
        </p:nvPicPr>
        <p:blipFill>
          <a:blip r:embed="rId3"/>
          <a:stretch>
            <a:fillRect/>
          </a:stretch>
        </p:blipFill>
        <p:spPr>
          <a:xfrm>
            <a:off x="152400" y="1774368"/>
            <a:ext cx="5309500" cy="3807823"/>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4A60377C-2E51-C896-63E6-E1C73D4C2BC8}"/>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0C2C6F5B-DD00-428A-AB42-ED79E2E2F7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83816A34-1256-1D88-0601-A90D3BD2D283}"/>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B893B7CC-59D9-B3DA-9AE1-BEE0532826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812" y="1416754"/>
            <a:ext cx="6396788" cy="4523534"/>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F9A64839-4C08-723B-38D4-F89D782CB0C7}"/>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5A5B502B-4F73-29CC-1C67-C2A7D9657443}"/>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C02933C8-CEB5-FA59-2F6C-97CA030989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3688" y="1417639"/>
            <a:ext cx="6385912" cy="4515843"/>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A7A5FD24-2ABB-AA66-6427-578234F7A183}"/>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29CEE6E-8C03-7A4F-46FF-72AFB2A693E5}"/>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78DC8F9-2427-B313-37E2-7FCA349E8362}"/>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50024"/>
            <a:ext cx="1198148" cy="2573683"/>
            <a:chOff x="2775759" y="1918327"/>
            <a:chExt cx="1198148" cy="2573683"/>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77670"/>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1832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18327"/>
              <a:ext cx="0" cy="8593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70222"/>
              <a:ext cx="0" cy="82178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709770" y="2222716"/>
            <a:ext cx="1198148" cy="2755133"/>
            <a:chOff x="10485745" y="1467913"/>
            <a:chExt cx="1198148" cy="275513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230776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7.3</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1424" y="422304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146791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1467913"/>
              <a:ext cx="0" cy="83985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200316"/>
              <a:ext cx="0" cy="102273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3415"/>
            <a:ext cx="1198148" cy="2256465"/>
            <a:chOff x="2775759" y="2235545"/>
            <a:chExt cx="1198148" cy="2256465"/>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043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3554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35545"/>
              <a:ext cx="0" cy="68489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805498" y="2472978"/>
            <a:ext cx="1198148" cy="2358688"/>
            <a:chOff x="2775759" y="2186119"/>
            <a:chExt cx="1198148" cy="2358688"/>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0339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18611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186119"/>
              <a:ext cx="0" cy="71727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95949"/>
              <a:ext cx="0" cy="74885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98BB798A-49E1-89A3-0624-D931A8F19555}"/>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70221F67-2303-8260-C7A0-68FC99B29C63}"/>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88F1248-28E5-BA66-FA11-0B3E18A358DB}"/>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CE768761-73AC-F612-83F2-54ADA0F90902}"/>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5CD6B83-58A3-449F-6FB8-55523936B266}"/>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27D1AE4-62B9-E58F-82CC-1750785E55B3}"/>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B74B2DF1-417D-5703-DDF7-57155D262D05}"/>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B1BDFDA8-9531-0168-86D4-FD6E8DECA0AE}"/>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00</TotalTime>
  <Words>1463</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88</cp:revision>
  <dcterms:created xsi:type="dcterms:W3CDTF">2022-07-04T13:32:28Z</dcterms:created>
  <dcterms:modified xsi:type="dcterms:W3CDTF">2023-03-17T23:14:33Z</dcterms:modified>
</cp:coreProperties>
</file>